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694" r:id="rId2"/>
  </p:sldMasterIdLst>
  <p:notesMasterIdLst>
    <p:notesMasterId r:id="rId9"/>
  </p:notesMasterIdLst>
  <p:sldIdLst>
    <p:sldId id="256" r:id="rId3"/>
    <p:sldId id="265" r:id="rId4"/>
    <p:sldId id="258" r:id="rId5"/>
    <p:sldId id="266" r:id="rId6"/>
    <p:sldId id="259" r:id="rId7"/>
    <p:sldId id="260" r:id="rId8"/>
  </p:sldIdLst>
  <p:sldSz cx="6858000" cy="9906000" type="A4"/>
  <p:notesSz cx="6797675" cy="9926638"/>
  <p:custDataLst>
    <p:tags r:id="rId1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48" d="100"/>
          <a:sy n="48" d="100"/>
        </p:scale>
        <p:origin x="208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79B25-0E01-4A23-A4DA-6D9D2866C7AD}" type="datetimeFigureOut">
              <a:rPr lang="da-DK" smtClean="0"/>
              <a:t>09-09-2021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6BCB71-EBDB-4D8F-9B44-EE4B7AD6A8A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178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8.jp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.tm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7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5.tm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tmp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22.bin"/><Relationship Id="rId9" Type="http://schemas.openxmlformats.org/officeDocument/2006/relationships/image" Target="../media/image7.tmp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9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tmp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8.jp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5.bin"/><Relationship Id="rId9" Type="http://schemas.openxmlformats.org/officeDocument/2006/relationships/image" Target="../media/image7.tm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6.bin"/><Relationship Id="rId9" Type="http://schemas.openxmlformats.org/officeDocument/2006/relationships/image" Target="../media/image7.tmp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28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799605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2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703BC2A-C2EE-40BA-99F1-D8AA19ECE8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1F5CF47-CDBD-488E-B377-645EF45B38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419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831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2563361-28D5-46BD-A43D-357B2F88C6B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D278588-0917-415C-B412-786CFC53E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9711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8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A020C03-93CE-4A83-BBAB-687D63EF000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BCC64E1-4344-47CC-A1C0-10258D55BED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379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84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e 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7ADD1EA-9279-4526-B21A-EDF98E1429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3334261-7DB5-4DE5-864C-4035006377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3385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43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204A5E0-8647-487B-B01D-C1C951B8D5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D435FF-7679-4BFA-84FC-4C1F35A97E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834326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48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D290CC3-BF3B-4BCB-8840-11FE70CC78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4A0EE8F-C7C9-476F-99ED-C311789372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27C695C-D80A-4340-A0DD-166914017A97}"/>
              </a:ext>
            </a:extLst>
          </p:cNvPr>
          <p:cNvSpPr txBox="1"/>
          <p:nvPr userDrawn="1"/>
        </p:nvSpPr>
        <p:spPr>
          <a:xfrm>
            <a:off x="7055627" y="15521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916049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3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27160216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31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37" y="8895913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903856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85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3136603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27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8887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16248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8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8887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366444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606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56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03FDC73-63C6-414C-9364-C941558E0B74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62201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66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1460A12-BC25-4EF4-8558-FF92D3AF9EDE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742624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053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34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EB2AE85-7782-49D5-82BC-B5D41C3563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D70CBBC-E03E-4886-BFA7-1EE5469CC0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148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28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3115E6F-FEE9-495E-95BD-B3B2CB5F6D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4A539D-5C36-4756-89CF-FD7592FAB8B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395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188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07FF9A7-2DFC-4E99-A9F1-02DBAD8E8F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CEC9C8F-9CD1-42AB-868B-E2B91F58B1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9445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77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4578EE3-CA27-49D1-B14D-21DC479F69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182B2B64-EA17-4547-BF6B-7A1C592CC22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54972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74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E5887FD-F2EB-4439-A066-4E9B909E7EF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F2E9060-48A0-4CDF-8488-864648DB69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25241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795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19D7D1D-E715-4E91-B354-DD92D02D2D3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99AD4AE-CDC8-4813-B83A-2BC6FCB1CA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4129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1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647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68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/>
          <a:p>
            <a:endParaRPr lang="da-DK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CB5D99E-4251-443B-B579-F6BB9F2C4B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72119E5A-A375-47FD-A7A3-11421ED839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1101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29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5C340EC-F144-4F36-9717-272D99C597A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1AEBE1C-A6CF-4921-984D-84770766BE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60114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43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e 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F72D78AC-BACD-4182-95B9-AF99FB64FB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299055-1759-4596-8D27-EA1A7B7E71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040F99C2-3851-4279-9EA5-05E73F31808A}"/>
              </a:ext>
            </a:extLst>
          </p:cNvPr>
          <p:cNvSpPr txBox="1"/>
          <p:nvPr userDrawn="1"/>
        </p:nvSpPr>
        <p:spPr>
          <a:xfrm>
            <a:off x="7055627" y="158073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881045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50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769958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32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37" y="8895913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4053977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55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2D4C1C68-5796-43A7-A6A0-4708F5FD16C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28469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kstfelt 18">
            <a:extLst>
              <a:ext uri="{FF2B5EF4-FFF2-40B4-BE49-F238E27FC236}">
                <a16:creationId xmlns:a16="http://schemas.microsoft.com/office/drawing/2014/main" id="{38A0BC56-0558-43E8-93CF-D2DE7B2829F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94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94796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854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248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09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93A54F1-064D-40D7-9E0E-26B97B0B1E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0306F8-5D96-43D3-BD37-1132F54C9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3556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72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CD5B7369-6B23-4C3E-B107-D5C40F15A40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02BD18F-5639-4CAE-AA7A-39836FD1BE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7579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0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50914E9-9393-496D-B9CF-908EEB0100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A288459-8796-4BE8-8C52-F856FA7778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6698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7484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6A00974-7166-43A5-AF41-84C9F08FD799}"/>
              </a:ext>
            </a:extLst>
          </p:cNvPr>
          <p:cNvSpPr/>
          <p:nvPr userDrawn="1"/>
        </p:nvSpPr>
        <p:spPr>
          <a:xfrm>
            <a:off x="0" y="-343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DAF5C66-8D97-4BFA-85A2-E41557190F7D}"/>
              </a:ext>
            </a:extLst>
          </p:cNvPr>
          <p:cNvSpPr/>
          <p:nvPr userDrawn="1"/>
        </p:nvSpPr>
        <p:spPr>
          <a:xfrm>
            <a:off x="0" y="9664357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EA93311-A444-448B-B830-35D1BC42EDE2}"/>
              </a:ext>
            </a:extLst>
          </p:cNvPr>
          <p:cNvSpPr/>
          <p:nvPr userDrawn="1"/>
        </p:nvSpPr>
        <p:spPr>
          <a:xfrm rot="16200000">
            <a:off x="-4825175" y="4827657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0F0F3EB-500E-402B-A430-AF025DB7612D}"/>
              </a:ext>
            </a:extLst>
          </p:cNvPr>
          <p:cNvSpPr/>
          <p:nvPr userDrawn="1"/>
        </p:nvSpPr>
        <p:spPr>
          <a:xfrm rot="16200000">
            <a:off x="1777475" y="4831773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66E521CB-EF64-4C96-86B8-F4C3ED4CFD4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3322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93" r:id="rId11"/>
    <p:sldLayoutId id="2147483711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358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C680134-6276-40D7-902A-F9AB97D60F84}"/>
              </a:ext>
            </a:extLst>
          </p:cNvPr>
          <p:cNvSpPr txBox="1"/>
          <p:nvPr userDrawn="1"/>
        </p:nvSpPr>
        <p:spPr>
          <a:xfrm rot="16200000">
            <a:off x="-582152" y="357836"/>
            <a:ext cx="876857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3900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12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emf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Relationship Id="rId9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B0432B5-4878-4BF2-BF2E-3ED454A21B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99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6B84E4C7-C93D-4E37-AF2F-CCB4ACBA2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Vejledning til Nøglepersoner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FBC7E40-5CAA-4E08-9543-6CEE947DF6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E5342F7C-C272-418C-A8AE-89D66420F0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32" y="7785728"/>
            <a:ext cx="3990630" cy="415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86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400" dirty="0" smtClean="0"/>
              <a:t>Hvad er nøglepersonens opgave</a:t>
            </a:r>
            <a:endParaRPr lang="da-DK" sz="1400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 smtClean="0">
                <a:latin typeface="+mj-lt"/>
              </a:rPr>
              <a:t>Formål</a:t>
            </a:r>
          </a:p>
          <a:p>
            <a:r>
              <a:rPr lang="da-DK" dirty="0" smtClean="0"/>
              <a:t>Formålet med nøglepersoner er at sikre, at Roskildemodellen implementeres i alle dagtilbud og skoler, og at der fremadrettet vedligeholdes en systematisk praksis i relation til opsporing og tidlig indsats målrettet børn og unge i begyndende mistrivsel. </a:t>
            </a:r>
          </a:p>
          <a:p>
            <a:endParaRPr lang="da-DK" dirty="0"/>
          </a:p>
          <a:p>
            <a:r>
              <a:rPr lang="da-DK" dirty="0" smtClean="0"/>
              <a:t>Nøglepersoner skal i tæt </a:t>
            </a:r>
            <a:r>
              <a:rPr lang="da-DK" b="1" dirty="0" smtClean="0"/>
              <a:t>samarbejde med ledels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implementere </a:t>
            </a:r>
            <a:r>
              <a:rPr lang="da-DK" dirty="0"/>
              <a:t>den reviderede Roskilde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introducere </a:t>
            </a:r>
            <a:r>
              <a:rPr lang="da-DK" dirty="0"/>
              <a:t>sine kolleger i brugen af Roskildemodellen ved brug af bl.a. film og dilemmaspil </a:t>
            </a:r>
            <a:r>
              <a:rPr lang="da-DK" dirty="0" smtClean="0"/>
              <a:t>på eksisterende </a:t>
            </a:r>
            <a:r>
              <a:rPr lang="da-DK" dirty="0"/>
              <a:t>mødefora (fx et årgangsteam eller et </a:t>
            </a:r>
            <a:r>
              <a:rPr lang="da-DK" dirty="0" smtClean="0"/>
              <a:t>stuemøde)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etablere </a:t>
            </a:r>
            <a:r>
              <a:rPr lang="da-DK" dirty="0"/>
              <a:t>en systematik i brugen af Roskildemod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</a:t>
            </a:r>
            <a:r>
              <a:rPr lang="da-DK" dirty="0"/>
              <a:t>at nye medarbejdere introduceres til Roskildemodell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>
                <a:latin typeface="+mj-lt"/>
              </a:rPr>
              <a:t>Hvem </a:t>
            </a:r>
            <a:r>
              <a:rPr lang="da-DK" dirty="0" smtClean="0">
                <a:latin typeface="+mj-lt"/>
              </a:rPr>
              <a:t>er </a:t>
            </a:r>
            <a:r>
              <a:rPr lang="da-DK" dirty="0">
                <a:latin typeface="+mj-lt"/>
              </a:rPr>
              <a:t>nøglepersonerne?</a:t>
            </a:r>
          </a:p>
          <a:p>
            <a:r>
              <a:rPr lang="da-DK" dirty="0" smtClean="0"/>
              <a:t>Nøglepersoner er medarbejdere </a:t>
            </a:r>
            <a:r>
              <a:rPr lang="da-DK" dirty="0"/>
              <a:t>på skoler/SFO, i </a:t>
            </a:r>
            <a:r>
              <a:rPr lang="da-DK" dirty="0" smtClean="0"/>
              <a:t>klub og dagtilbud med en særlig funktion eller position i forbindelse med det </a:t>
            </a:r>
            <a:r>
              <a:rPr lang="da-DK" dirty="0"/>
              <a:t>tværfaglige </a:t>
            </a:r>
            <a:r>
              <a:rPr lang="da-DK" dirty="0" smtClean="0"/>
              <a:t>samarbejde og den tidlige indsats. Det kunne fx være  </a:t>
            </a:r>
            <a:r>
              <a:rPr lang="da-DK" dirty="0"/>
              <a:t>afdelingsledere, pædagogiske </a:t>
            </a:r>
            <a:r>
              <a:rPr lang="da-DK" dirty="0" smtClean="0"/>
              <a:t>ledere, </a:t>
            </a:r>
            <a:r>
              <a:rPr lang="da-DK" dirty="0"/>
              <a:t>koordinatorer, vejledere, faglige fyrtårne mv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dirty="0" smtClean="0"/>
              <a:t>Alle nøglepersoner har deltaget i forvaltningens introduktionsworkshop, hvor de er blevet introduceret i Roskildemodellen elementer herunder hjemmeside og Linealen. Derudover bliver nøglepersonerne klædt på til at spille Dilemmaspillet, som er Roskildemodellens implementeringsværktøj. </a:t>
            </a:r>
          </a:p>
          <a:p>
            <a:endParaRPr lang="da-DK" dirty="0"/>
          </a:p>
          <a:p>
            <a:r>
              <a:rPr lang="da-DK" dirty="0" smtClean="0">
                <a:latin typeface="+mj-lt"/>
              </a:rPr>
              <a:t>Opgave</a:t>
            </a:r>
          </a:p>
          <a:p>
            <a:r>
              <a:rPr lang="da-DK" dirty="0" smtClean="0"/>
              <a:t>Den første opgave bliver at planlægge og gennemføre et personalemøde, teammøde eller stuemøde af ca. 2½ times varighed.  Alle medarbejdere skal introduceres for Roskildemodellen og spiller Dilemmaspillet sammen og herunder indgår aftaler om en systematisk brug af Roskildemodellen.  </a:t>
            </a:r>
            <a:endParaRPr lang="da-DK" dirty="0"/>
          </a:p>
          <a:p>
            <a:endParaRPr lang="da-DK" dirty="0"/>
          </a:p>
          <a:p>
            <a:r>
              <a:rPr lang="da-DK" b="1" dirty="0" smtClean="0"/>
              <a:t>Forslag til dagsorden:</a:t>
            </a:r>
            <a:endParaRPr lang="da-DK" dirty="0"/>
          </a:p>
          <a:p>
            <a:pPr lvl="1">
              <a:buFont typeface="+mj-lt"/>
              <a:buAutoNum type="arabicPeriod"/>
            </a:pPr>
            <a:r>
              <a:rPr lang="da-DK" dirty="0" smtClean="0"/>
              <a:t>Introduktion til Roskildemodellen</a:t>
            </a:r>
            <a:br>
              <a:rPr lang="da-DK" dirty="0" smtClean="0"/>
            </a:br>
            <a:r>
              <a:rPr lang="da-DK" dirty="0" smtClean="0"/>
              <a:t>- Formål </a:t>
            </a:r>
          </a:p>
          <a:p>
            <a:pPr lvl="1">
              <a:buFont typeface="+mj-lt"/>
              <a:buAutoNum type="arabicPeriod"/>
            </a:pPr>
            <a:r>
              <a:rPr lang="da-DK" dirty="0" smtClean="0"/>
              <a:t>Introduktion til hjemmeside</a:t>
            </a:r>
          </a:p>
          <a:p>
            <a:pPr lvl="1">
              <a:buFont typeface="+mj-lt"/>
              <a:buAutoNum type="arabicPeriod"/>
            </a:pPr>
            <a:r>
              <a:rPr lang="da-DK" dirty="0" smtClean="0"/>
              <a:t>Linealen</a:t>
            </a:r>
            <a:br>
              <a:rPr lang="da-DK" dirty="0" smtClean="0"/>
            </a:br>
            <a:r>
              <a:rPr lang="da-DK" dirty="0" smtClean="0"/>
              <a:t>- Hvad kan den? Hvad kan den ikke?</a:t>
            </a:r>
            <a:br>
              <a:rPr lang="da-DK" dirty="0" smtClean="0"/>
            </a:br>
            <a:r>
              <a:rPr lang="da-DK" dirty="0" smtClean="0"/>
              <a:t>- Linealens indbyggede ‘flow’ </a:t>
            </a:r>
          </a:p>
          <a:p>
            <a:pPr lvl="1">
              <a:buFont typeface="+mj-lt"/>
              <a:buAutoNum type="arabicPeriod"/>
            </a:pPr>
            <a:r>
              <a:rPr lang="da-DK" dirty="0" smtClean="0"/>
              <a:t>Spil Dilemmaspillet</a:t>
            </a:r>
          </a:p>
          <a:p>
            <a:pPr lvl="1">
              <a:buFont typeface="+mj-lt"/>
              <a:buAutoNum type="arabicPeriod"/>
            </a:pPr>
            <a:r>
              <a:rPr lang="da-DK" dirty="0" smtClean="0"/>
              <a:t>Hvad har vi aftalt?</a:t>
            </a:r>
          </a:p>
          <a:p>
            <a:endParaRPr lang="da-DK" dirty="0"/>
          </a:p>
          <a:p>
            <a:r>
              <a:rPr lang="da-DK" dirty="0" smtClean="0"/>
              <a:t>Efter mødet er det nøglepersonernes opgave </a:t>
            </a:r>
            <a:r>
              <a:rPr lang="da-DK" b="1" dirty="0" smtClean="0"/>
              <a:t>sammen med ledelsen </a:t>
            </a:r>
            <a:r>
              <a:rPr lang="da-DK" dirty="0" smtClean="0"/>
              <a:t>at understøtte en implementering af de indgåede aftaler samt vedligeholde den nye praksis, herunder sikre at nye medarbejdere introduceres til Roskildemodellen. </a:t>
            </a:r>
          </a:p>
          <a:p>
            <a:endParaRPr lang="da-DK" dirty="0" smtClean="0"/>
          </a:p>
          <a:p>
            <a:r>
              <a:rPr lang="da-DK" dirty="0" smtClean="0">
                <a:latin typeface="+mj-lt"/>
              </a:rPr>
              <a:t>Materialer</a:t>
            </a:r>
          </a:p>
          <a:p>
            <a:r>
              <a:rPr lang="da-DK" dirty="0" smtClean="0"/>
              <a:t>Håndbog, vejledning til nøglepersoner og slides fra introduktionsworkshop.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660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400" dirty="0" smtClean="0"/>
              <a:t>Sådan spiller du Dilemmaspillet</a:t>
            </a:r>
            <a:endParaRPr lang="da-DK" sz="140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 smtClean="0"/>
              <a:t>Som </a:t>
            </a:r>
            <a:r>
              <a:rPr lang="da-DK" dirty="0"/>
              <a:t>nøgleperson skal du introducere dine </a:t>
            </a:r>
            <a:r>
              <a:rPr lang="da-DK" dirty="0" smtClean="0"/>
              <a:t>kollegaer </a:t>
            </a:r>
            <a:r>
              <a:rPr lang="da-DK" dirty="0"/>
              <a:t>for Linealen. </a:t>
            </a:r>
            <a:r>
              <a:rPr lang="da-DK" dirty="0" smtClean="0"/>
              <a:t>Dilemmaspillet </a:t>
            </a:r>
            <a:r>
              <a:rPr lang="da-DK" dirty="0"/>
              <a:t>er dit værktøj til netop </a:t>
            </a:r>
            <a:r>
              <a:rPr lang="da-DK" dirty="0" smtClean="0"/>
              <a:t>den </a:t>
            </a:r>
            <a:r>
              <a:rPr lang="da-DK" dirty="0"/>
              <a:t>opgave. Her kan du læse mere om, hvordan du kan </a:t>
            </a:r>
            <a:r>
              <a:rPr lang="da-DK" dirty="0" smtClean="0"/>
              <a:t>gøre, </a:t>
            </a:r>
            <a:r>
              <a:rPr lang="da-DK" dirty="0"/>
              <a:t>og hvad du skal være opmærksom på, når du skal </a:t>
            </a:r>
            <a:r>
              <a:rPr lang="da-DK" dirty="0" err="1"/>
              <a:t>facilitere</a:t>
            </a:r>
            <a:r>
              <a:rPr lang="da-DK" dirty="0"/>
              <a:t> </a:t>
            </a:r>
            <a:r>
              <a:rPr lang="da-DK" dirty="0" smtClean="0"/>
              <a:t>Dilemmaspillet. </a:t>
            </a:r>
          </a:p>
          <a:p>
            <a:endParaRPr lang="da-DK" dirty="0"/>
          </a:p>
          <a:p>
            <a:r>
              <a:rPr lang="da-DK" b="1" dirty="0">
                <a:latin typeface="+mj-lt"/>
              </a:rPr>
              <a:t>Ramme </a:t>
            </a:r>
          </a:p>
          <a:p>
            <a:r>
              <a:rPr lang="da-DK" dirty="0"/>
              <a:t>Afsæt så vidt muligt 1½ time til at introducere og spille </a:t>
            </a:r>
            <a:r>
              <a:rPr lang="da-DK" dirty="0" smtClean="0"/>
              <a:t>Dilemmaspillet </a:t>
            </a:r>
            <a:r>
              <a:rPr lang="da-DK" dirty="0"/>
              <a:t>sammen med dine </a:t>
            </a:r>
            <a:r>
              <a:rPr lang="da-DK" dirty="0" smtClean="0"/>
              <a:t>medarbejdere/kollegaer</a:t>
            </a:r>
            <a:r>
              <a:rPr lang="da-DK" dirty="0"/>
              <a:t>. </a:t>
            </a:r>
            <a:endParaRPr lang="da-DK" dirty="0" smtClean="0"/>
          </a:p>
          <a:p>
            <a:endParaRPr lang="da-DK" dirty="0"/>
          </a:p>
          <a:p>
            <a:r>
              <a:rPr lang="da-DK" b="1" dirty="0">
                <a:latin typeface="+mj-lt"/>
              </a:rPr>
              <a:t>Form</a:t>
            </a:r>
            <a:r>
              <a:rPr lang="da-DK" b="1" dirty="0"/>
              <a:t> </a:t>
            </a:r>
          </a:p>
          <a:p>
            <a:r>
              <a:rPr lang="da-DK" dirty="0"/>
              <a:t>Spil </a:t>
            </a:r>
            <a:r>
              <a:rPr lang="da-DK" dirty="0" smtClean="0"/>
              <a:t>Dilemmaspillet på f.eks. </a:t>
            </a:r>
            <a:r>
              <a:rPr lang="da-DK" dirty="0"/>
              <a:t>et afdelings- eller stuemøde. Undervejs skal I kunne tale sammen i mindre grupper på f.eks. 3-4 personer. </a:t>
            </a:r>
          </a:p>
          <a:p>
            <a:endParaRPr lang="da-DK" dirty="0" smtClean="0"/>
          </a:p>
          <a:p>
            <a:r>
              <a:rPr lang="da-DK" dirty="0" smtClean="0"/>
              <a:t>Som </a:t>
            </a:r>
            <a:r>
              <a:rPr lang="da-DK" dirty="0"/>
              <a:t>nøgleperson skal du bruge en computer og en stor skærm, som alle deltagere kan se. Deltagerne skal have deres egen smartphone (til </a:t>
            </a:r>
            <a:r>
              <a:rPr lang="da-DK" dirty="0" smtClean="0"/>
              <a:t>Dilemmaspillet) </a:t>
            </a:r>
            <a:r>
              <a:rPr lang="da-DK" dirty="0"/>
              <a:t>og en computer/tablet (til Linealen). </a:t>
            </a:r>
            <a:r>
              <a:rPr lang="da-DK" dirty="0" smtClean="0"/>
              <a:t>Man </a:t>
            </a:r>
            <a:r>
              <a:rPr lang="da-DK" dirty="0"/>
              <a:t>kan eventuelt spille spillet i grupper, hvis ikke alle har en computer/tablet. </a:t>
            </a:r>
            <a:endParaRPr lang="da-DK" dirty="0" smtClean="0"/>
          </a:p>
          <a:p>
            <a:endParaRPr lang="da-DK" dirty="0">
              <a:latin typeface="+mj-lt"/>
            </a:endParaRPr>
          </a:p>
          <a:p>
            <a:r>
              <a:rPr lang="da-DK" b="1" dirty="0">
                <a:latin typeface="+mj-lt"/>
              </a:rPr>
              <a:t>Formål</a:t>
            </a:r>
            <a:r>
              <a:rPr lang="da-DK" dirty="0">
                <a:latin typeface="+mj-lt"/>
              </a:rPr>
              <a:t> </a:t>
            </a:r>
          </a:p>
          <a:p>
            <a:r>
              <a:rPr lang="da-DK" dirty="0"/>
              <a:t>• </a:t>
            </a:r>
            <a:r>
              <a:rPr lang="da-DK" dirty="0" smtClean="0"/>
              <a:t>Dilemmaspillet </a:t>
            </a:r>
            <a:r>
              <a:rPr lang="da-DK" dirty="0"/>
              <a:t>er et hjælpeværktøj til </a:t>
            </a:r>
            <a:r>
              <a:rPr lang="da-DK" dirty="0" smtClean="0"/>
              <a:t>at implementere Roskildemodellen med et særligt fokus på Linealen. </a:t>
            </a:r>
            <a:endParaRPr lang="da-DK" dirty="0"/>
          </a:p>
          <a:p>
            <a:r>
              <a:rPr lang="da-DK" dirty="0" smtClean="0"/>
              <a:t>• Gennem Dilemmaspillet kan I øve jer i at anvende Linealen og sammen reflektere over faglige problemstillinger og jeres egen praksis i relation til børn og unge i begyndende mistrivsel.</a:t>
            </a:r>
          </a:p>
          <a:p>
            <a:endParaRPr lang="da-DK" dirty="0" smtClean="0"/>
          </a:p>
          <a:p>
            <a:r>
              <a:rPr lang="da-DK" dirty="0" smtClean="0"/>
              <a:t>Fordelen </a:t>
            </a:r>
            <a:r>
              <a:rPr lang="da-DK" dirty="0"/>
              <a:t>ved at bruge </a:t>
            </a:r>
            <a:r>
              <a:rPr lang="da-DK" dirty="0" smtClean="0"/>
              <a:t>dilemmaspiller </a:t>
            </a:r>
            <a:r>
              <a:rPr lang="da-DK" dirty="0"/>
              <a:t>som </a:t>
            </a:r>
            <a:r>
              <a:rPr lang="da-DK" dirty="0" err="1"/>
              <a:t>øvebane</a:t>
            </a:r>
            <a:r>
              <a:rPr lang="da-DK" dirty="0"/>
              <a:t> til Linealen er, at deltagerne forholder sig </a:t>
            </a:r>
            <a:r>
              <a:rPr lang="da-DK" dirty="0" smtClean="0"/>
              <a:t>aktivt </a:t>
            </a:r>
            <a:r>
              <a:rPr lang="da-DK" dirty="0"/>
              <a:t>til værktøjet, man reflekterer og indgår i dialog med de andre spillere, og der er øjeblikkelig tilbagemelding på de handlinger, som man foretager sig i spillet. </a:t>
            </a:r>
          </a:p>
          <a:p>
            <a:endParaRPr lang="da-DK" dirty="0"/>
          </a:p>
          <a:p>
            <a:r>
              <a:rPr lang="da-DK" b="1" dirty="0">
                <a:latin typeface="+mj-lt"/>
              </a:rPr>
              <a:t>Opbygning</a:t>
            </a:r>
            <a:r>
              <a:rPr lang="da-DK" dirty="0">
                <a:latin typeface="+mj-lt"/>
              </a:rPr>
              <a:t> </a:t>
            </a:r>
          </a:p>
          <a:p>
            <a:r>
              <a:rPr lang="da-DK" dirty="0"/>
              <a:t>Spillet er bygget op om tre cases fordelt på tre aldersgrupper. </a:t>
            </a:r>
            <a:endParaRPr lang="da-DK" dirty="0" smtClean="0"/>
          </a:p>
          <a:p>
            <a:endParaRPr lang="da-DK" dirty="0"/>
          </a:p>
          <a:p>
            <a:r>
              <a:rPr lang="da-DK" dirty="0"/>
              <a:t>I begynder med at vælge, om I vil arbejde ud fra en case med et barn på enten 3, 10 eller 14 år. </a:t>
            </a:r>
            <a:endParaRPr lang="da-DK" dirty="0" smtClean="0"/>
          </a:p>
          <a:p>
            <a:endParaRPr lang="da-DK" dirty="0"/>
          </a:p>
          <a:p>
            <a:r>
              <a:rPr lang="da-DK" dirty="0"/>
              <a:t>Undervejs i casen bliver I præsenteret for nogle dilemmaer, hvor I skal reflektere over nogle faglige problemstillinger ud fra situationen og personalets handling. </a:t>
            </a:r>
            <a:endParaRPr lang="da-DK" dirty="0" smtClean="0"/>
          </a:p>
          <a:p>
            <a:endParaRPr lang="da-DK" dirty="0"/>
          </a:p>
          <a:p>
            <a:r>
              <a:rPr lang="da-DK" dirty="0"/>
              <a:t>Undervejs skal I også anvende Linealen og sammen drøfte, hvordan I kan anvende Linealen i jeres </a:t>
            </a:r>
            <a:r>
              <a:rPr lang="da-DK" dirty="0" smtClean="0"/>
              <a:t>praksis, </a:t>
            </a:r>
            <a:r>
              <a:rPr lang="da-DK" dirty="0"/>
              <a:t>og hvordan I kan etablere en systematik for anvendelsen. </a:t>
            </a:r>
            <a:endParaRPr lang="da-DK" dirty="0" smtClean="0"/>
          </a:p>
          <a:p>
            <a:endParaRPr lang="da-DK" dirty="0"/>
          </a:p>
          <a:p>
            <a:r>
              <a:rPr lang="da-DK" dirty="0" smtClean="0">
                <a:latin typeface="+mj-lt"/>
              </a:rPr>
              <a:t>Start spillet</a:t>
            </a:r>
          </a:p>
          <a:p>
            <a:r>
              <a:rPr lang="da-DK" dirty="0" smtClean="0"/>
              <a:t>Se teknisk vejledning sidst i pjecen </a:t>
            </a:r>
          </a:p>
          <a:p>
            <a:endParaRPr lang="da-DK" dirty="0">
              <a:latin typeface="+mj-lt"/>
            </a:endParaRP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26DEDCB-493A-4621-B62C-CC5DBDD5CEF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2661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400" dirty="0" smtClean="0"/>
              <a:t>Når spillet er i gang</a:t>
            </a:r>
            <a:endParaRPr lang="da-DK" sz="1400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 smtClean="0"/>
              <a:t>Når </a:t>
            </a:r>
            <a:r>
              <a:rPr lang="da-DK" dirty="0"/>
              <a:t>alle deltagere er logget på, skal du begynde at læse casen op. (Der står ’Kig på </a:t>
            </a:r>
            <a:r>
              <a:rPr lang="da-DK" dirty="0" err="1"/>
              <a:t>facilitatorens</a:t>
            </a:r>
            <a:r>
              <a:rPr lang="da-DK" dirty="0"/>
              <a:t> skærm’ på deres smartphone/tablet). </a:t>
            </a:r>
          </a:p>
          <a:p>
            <a:r>
              <a:rPr lang="da-DK" dirty="0"/>
              <a:t>Læs teksten på skærmen op i langsomt tempo og klik dig frem igennem casen. </a:t>
            </a:r>
          </a:p>
          <a:p>
            <a:endParaRPr lang="da-DK" dirty="0" smtClean="0"/>
          </a:p>
          <a:p>
            <a:r>
              <a:rPr lang="da-DK" dirty="0" smtClean="0"/>
              <a:t>I </a:t>
            </a:r>
            <a:r>
              <a:rPr lang="da-DK" dirty="0"/>
              <a:t>hvert kapitel er der et dilemma, som deltagerne skal forholde sig til ved at ”stemme” på den reaktion/handling, som de selv ville have </a:t>
            </a:r>
            <a:r>
              <a:rPr lang="da-DK" dirty="0" smtClean="0"/>
              <a:t>valgt. </a:t>
            </a:r>
            <a:endParaRPr lang="da-DK" dirty="0"/>
          </a:p>
          <a:p>
            <a:r>
              <a:rPr lang="da-DK" dirty="0"/>
              <a:t>Sæt tid af til hver ”afstemning” (f.eks. 1 min.). Du kan se, hvor mange reaktioner, der er kommet. </a:t>
            </a:r>
          </a:p>
          <a:p>
            <a:endParaRPr lang="da-DK" dirty="0" smtClean="0"/>
          </a:p>
          <a:p>
            <a:r>
              <a:rPr lang="da-DK" dirty="0" smtClean="0"/>
              <a:t>Derefter </a:t>
            </a:r>
            <a:r>
              <a:rPr lang="da-DK" dirty="0"/>
              <a:t>kan I sammen se svarfordelingen på skærmen ’Her er jeres svar’. </a:t>
            </a:r>
          </a:p>
          <a:p>
            <a:r>
              <a:rPr lang="da-DK" dirty="0"/>
              <a:t>Svarene vil typisk fordele sig lidt forskelligt, og det giver god anledning til sammen at drøfte de forskellige perspektiver på, hvad man kan gøre i den konkrete situation. </a:t>
            </a:r>
            <a:endParaRPr lang="da-DK" dirty="0" smtClean="0"/>
          </a:p>
          <a:p>
            <a:endParaRPr lang="da-DK" dirty="0"/>
          </a:p>
          <a:p>
            <a:r>
              <a:rPr lang="da-DK" dirty="0" smtClean="0"/>
              <a:t>Det er din opgave at </a:t>
            </a:r>
            <a:r>
              <a:rPr lang="da-DK" dirty="0" err="1" smtClean="0"/>
              <a:t>facilitere</a:t>
            </a:r>
            <a:r>
              <a:rPr lang="da-DK" dirty="0" smtClean="0"/>
              <a:t> drøftelsen ved at stille spørgsmål. </a:t>
            </a:r>
            <a:endParaRPr lang="da-DK" dirty="0"/>
          </a:p>
          <a:p>
            <a:endParaRPr lang="da-DK" b="1" dirty="0" smtClean="0"/>
          </a:p>
          <a:p>
            <a:r>
              <a:rPr lang="da-DK" dirty="0" smtClean="0">
                <a:latin typeface="+mj-lt"/>
              </a:rPr>
              <a:t>Når </a:t>
            </a:r>
            <a:r>
              <a:rPr lang="da-DK" dirty="0">
                <a:latin typeface="+mj-lt"/>
              </a:rPr>
              <a:t>I skal bruge Linealen undervejs i spillet </a:t>
            </a:r>
          </a:p>
          <a:p>
            <a:endParaRPr lang="da-DK" b="1" dirty="0" smtClean="0"/>
          </a:p>
          <a:p>
            <a:r>
              <a:rPr lang="da-DK" b="1" dirty="0" smtClean="0"/>
              <a:t>Første gang</a:t>
            </a:r>
            <a:endParaRPr lang="da-DK" dirty="0"/>
          </a:p>
          <a:p>
            <a:r>
              <a:rPr lang="da-DK" dirty="0"/>
              <a:t>Deltagerne sidder i grupper à 3-4 personer. De skal åbne Linealen og prøve at udfylde den med afsæt i den </a:t>
            </a:r>
            <a:r>
              <a:rPr lang="da-DK" dirty="0" smtClean="0"/>
              <a:t>viden, </a:t>
            </a:r>
            <a:r>
              <a:rPr lang="da-DK" dirty="0"/>
              <a:t>de har fra casen på daværende tidspunkt. I begyndelsen af casen vil nogle måske </a:t>
            </a:r>
            <a:r>
              <a:rPr lang="da-DK" dirty="0" smtClean="0"/>
              <a:t>opleve </a:t>
            </a:r>
            <a:r>
              <a:rPr lang="da-DK" dirty="0"/>
              <a:t>at mangle noget viden om barnet og situationen, men sådan er virkeligheden også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dirty="0"/>
              <a:t>Klik derefter ’Fortsæt’, hvorefter I </a:t>
            </a:r>
            <a:r>
              <a:rPr lang="da-DK" dirty="0" err="1"/>
              <a:t>i</a:t>
            </a:r>
            <a:r>
              <a:rPr lang="da-DK" dirty="0"/>
              <a:t> fællesskab skal reflektere over det at bruge Linealen. Her er det vigtigt at være åben over for forskellige vinkler, selv om du som </a:t>
            </a:r>
            <a:r>
              <a:rPr lang="da-DK" dirty="0" err="1"/>
              <a:t>facilitator</a:t>
            </a:r>
            <a:r>
              <a:rPr lang="da-DK" dirty="0"/>
              <a:t> ikke kan løse de eventuelle udfordringer, som deltagerne nævner. I kan sammen drøfte, hvordan I kan arbejde med det lokalt. </a:t>
            </a:r>
          </a:p>
          <a:p>
            <a:endParaRPr lang="da-DK" b="1" dirty="0" smtClean="0"/>
          </a:p>
          <a:p>
            <a:r>
              <a:rPr lang="da-DK" b="1" dirty="0" smtClean="0"/>
              <a:t>Anden </a:t>
            </a:r>
            <a:r>
              <a:rPr lang="da-DK" b="1" dirty="0"/>
              <a:t>gang </a:t>
            </a:r>
            <a:endParaRPr lang="da-DK" dirty="0"/>
          </a:p>
          <a:p>
            <a:r>
              <a:rPr lang="da-DK" dirty="0"/>
              <a:t>Deltagerne åbner Linealen igen og starter forfra. Den nye viden registreres i Linealen. Deltagerne arbejder denne gang med Linealen individuelt (eller i par, hvis ikke alle har hver en tablet/PC). </a:t>
            </a:r>
          </a:p>
          <a:p>
            <a:r>
              <a:rPr lang="da-DK" dirty="0"/>
              <a:t>Klik derefter ’Fortsæt’, hvorefter I </a:t>
            </a:r>
            <a:r>
              <a:rPr lang="da-DK" dirty="0" err="1"/>
              <a:t>i</a:t>
            </a:r>
            <a:r>
              <a:rPr lang="da-DK" dirty="0"/>
              <a:t> fællesskab skal reflektere over jeres besvarelser. </a:t>
            </a:r>
          </a:p>
          <a:p>
            <a:endParaRPr lang="da-DK" b="1" dirty="0" smtClean="0"/>
          </a:p>
          <a:p>
            <a:r>
              <a:rPr lang="da-DK" b="1" dirty="0" smtClean="0"/>
              <a:t>Tredje gang</a:t>
            </a:r>
          </a:p>
          <a:p>
            <a:r>
              <a:rPr lang="da-DK" dirty="0" smtClean="0"/>
              <a:t>I skal bruge </a:t>
            </a:r>
            <a:r>
              <a:rPr lang="da-DK" dirty="0"/>
              <a:t>Linealen individuelt. Denne gang er der lagt op til en mere generel drøftelse af, hvornår og hvordan det giver mening at bruge Linealen i jeres praksis. </a:t>
            </a:r>
            <a:r>
              <a:rPr lang="da-DK" dirty="0" smtClean="0"/>
              <a:t>Herefter </a:t>
            </a:r>
            <a:r>
              <a:rPr lang="da-DK" dirty="0"/>
              <a:t>er spillet slut. </a:t>
            </a:r>
          </a:p>
          <a:p>
            <a:endParaRPr lang="da-DK" dirty="0" smtClean="0"/>
          </a:p>
          <a:p>
            <a:r>
              <a:rPr lang="da-DK" b="1" dirty="0" smtClean="0"/>
              <a:t>OBS! </a:t>
            </a:r>
            <a:r>
              <a:rPr lang="da-DK" dirty="0" smtClean="0"/>
              <a:t>Hold </a:t>
            </a:r>
            <a:r>
              <a:rPr lang="da-DK" dirty="0"/>
              <a:t>hele tiden øje med tiden – sæt eventuelt en tidsramme for, hvor lang tid man har til at afgive stemme, drøfte dilemmaerne og øve sig med Linealen.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9064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04B0EE6-F23C-4351-B2B8-D11CA67EC0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4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ekst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400" dirty="0" smtClean="0"/>
              <a:t>Teknisk vejledning til at starte Dilemmaspillet</a:t>
            </a:r>
            <a:endParaRPr lang="da-DK" sz="140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1. Gå ind på roskildemodellen.dk </a:t>
            </a:r>
          </a:p>
          <a:p>
            <a:r>
              <a:rPr lang="da-DK" dirty="0"/>
              <a:t>2. Vælg ikonet ’Linealen i praksis’ og klik på ’Til nøglepersoner’ i høje side. </a:t>
            </a:r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r>
              <a:rPr lang="da-DK" dirty="0" smtClean="0"/>
              <a:t>3</a:t>
            </a:r>
            <a:r>
              <a:rPr lang="da-DK" dirty="0"/>
              <a:t>. Åbn </a:t>
            </a:r>
            <a:r>
              <a:rPr lang="da-DK" dirty="0" smtClean="0"/>
              <a:t>Dilemmaspillet </a:t>
            </a:r>
            <a:r>
              <a:rPr lang="da-DK" dirty="0"/>
              <a:t>ved at klikke på den blå knap ”Start </a:t>
            </a:r>
            <a:r>
              <a:rPr lang="da-DK" dirty="0" smtClean="0"/>
              <a:t>Dilemmaspil</a:t>
            </a:r>
            <a:r>
              <a:rPr lang="da-DK" dirty="0"/>
              <a:t>” </a:t>
            </a:r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4</a:t>
            </a:r>
            <a:r>
              <a:rPr lang="da-DK" dirty="0"/>
              <a:t>. Tryk herefter på ”Start” 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5</a:t>
            </a:r>
            <a:r>
              <a:rPr lang="da-DK" dirty="0"/>
              <a:t>. Start med at vise den korte film, der fortæller om Roskildemodellen (varighed 3 min.) </a:t>
            </a:r>
          </a:p>
          <a:p>
            <a:r>
              <a:rPr lang="da-DK" dirty="0" smtClean="0"/>
              <a:t>(</a:t>
            </a:r>
            <a:r>
              <a:rPr lang="da-DK" dirty="0"/>
              <a:t>Spring filmen over hvis I allerede har set den) </a:t>
            </a:r>
          </a:p>
          <a:p>
            <a:r>
              <a:rPr lang="da-DK" dirty="0"/>
              <a:t>6. Introducér spillet på siden ’Sådan spiller I’ </a:t>
            </a:r>
          </a:p>
          <a:p>
            <a:r>
              <a:rPr lang="da-DK" dirty="0"/>
              <a:t>7. Vælg en af de tre cases </a:t>
            </a:r>
          </a:p>
          <a:p>
            <a:r>
              <a:rPr lang="da-DK" dirty="0"/>
              <a:t>8. Bed dine kolleger om at scanne QR-koden nederst i venstre hjørne eller at følge linket. (Afsæt ca. 5 min. til at alle kommer med). </a:t>
            </a:r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9</a:t>
            </a:r>
            <a:r>
              <a:rPr lang="da-DK" dirty="0"/>
              <a:t>. Derefter skal deltagerne logge ind på spillet ved at </a:t>
            </a:r>
            <a:r>
              <a:rPr lang="da-DK" dirty="0" err="1"/>
              <a:t>taste</a:t>
            </a:r>
            <a:r>
              <a:rPr lang="da-DK" dirty="0"/>
              <a:t> den kode, der vises på skærmen (koden består af forskellige ikoner såsom bolde, bøger og blyanter). </a:t>
            </a:r>
          </a:p>
          <a:p>
            <a:endParaRPr lang="da-DK" dirty="0"/>
          </a:p>
          <a:p>
            <a:r>
              <a:rPr lang="da-DK" dirty="0"/>
              <a:t>Du kan se på skærmen, hvor mange der er logget på spillet. </a:t>
            </a:r>
          </a:p>
          <a:p>
            <a:r>
              <a:rPr lang="da-DK" dirty="0"/>
              <a:t>10. Klik på ’Start’. </a:t>
            </a:r>
          </a:p>
          <a:p>
            <a:endParaRPr lang="da-DK" dirty="0"/>
          </a:p>
          <a:p>
            <a:r>
              <a:rPr lang="da-DK" dirty="0"/>
              <a:t>Nu er I klar til at begynde </a:t>
            </a:r>
            <a:r>
              <a:rPr lang="da-DK" dirty="0" smtClean="0"/>
              <a:t>Dilemmaspillet! </a:t>
            </a:r>
            <a:endParaRPr lang="da-DK" dirty="0"/>
          </a:p>
          <a:p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44FA5E4-3426-4380-8B27-2D37F72C4C6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5</a:t>
            </a:fld>
            <a:endParaRPr lang="da-DK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6466" y="1707590"/>
            <a:ext cx="833006" cy="1007257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8249" y="3274205"/>
            <a:ext cx="3676384" cy="625235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97854" y="4168081"/>
            <a:ext cx="670230" cy="1013519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97854" y="6530837"/>
            <a:ext cx="999117" cy="90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461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D62FA73-7BC9-4356-B753-663E4C9AFE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D9CDD5E-16D3-4B30-9DF5-92127E4F5B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AA29F3F-C797-4231-A55D-9FD2709648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 b="1" dirty="0"/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530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7D2DD921-5B2D-4EBD-A0EB-DF917AEEED7C}" vid="{0DB6C296-5591-4D4F-8E51-00D8A4EA4F47}"/>
    </a:ext>
  </a:extLst>
</a:theme>
</file>

<file path=ppt/theme/theme2.xml><?xml version="1.0" encoding="utf-8"?>
<a:theme xmlns:a="http://schemas.openxmlformats.org/drawingml/2006/main" name="A4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7D2DD921-5B2D-4EBD-A0EB-DF917AEEED7C}" vid="{291B7616-042A-42C2-9A16-BF57DC49BDC2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 Pjece</Template>
  <TotalTime>1295</TotalTime>
  <Words>1255</Words>
  <Application>Microsoft Office PowerPoint</Application>
  <PresentationFormat>A4-papir (210 x 297 mm)</PresentationFormat>
  <Paragraphs>135</Paragraphs>
  <Slides>6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16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4 pjece - Print selv</vt:lpstr>
      <vt:lpstr>A4 pjece - Til tryk</vt:lpstr>
      <vt:lpstr>think-cell Slide</vt:lpstr>
      <vt:lpstr>Vejledning til Nøglepersoner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nnette Breinholt</dc:creator>
  <cp:lastModifiedBy>Annette Breinholt</cp:lastModifiedBy>
  <cp:revision>25</cp:revision>
  <cp:lastPrinted>2021-08-23T14:00:17Z</cp:lastPrinted>
  <dcterms:created xsi:type="dcterms:W3CDTF">2021-08-23T06:45:32Z</dcterms:created>
  <dcterms:modified xsi:type="dcterms:W3CDTF">2021-09-09T09:55:10Z</dcterms:modified>
</cp:coreProperties>
</file>